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68000" y="2808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3348000" y="2808000"/>
            <a:ext cx="5759988"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9108000" y="2808000"/>
            <a:ext cx="8639982"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